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7556500" cy="10693400"/>
  <p:notesSz cx="6858000" cy="9144000"/>
  <p:embeddedFontLst>
    <p:embeddedFont>
      <p:font typeface="Playfair Display" pitchFamily="2" charset="0"/>
      <p:regular r:id="rId3"/>
      <p:bold r:id="rId4"/>
      <p:italic r:id="rId5"/>
      <p:boldItalic r:id="rId6"/>
    </p:embeddedFont>
    <p:embeddedFont>
      <p:font typeface="Playfair Display SemiBold" pitchFamily="2" charset="0"/>
      <p:bold r:id="rId7"/>
      <p:bold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57C8"/>
    <a:srgbClr val="EFE9E9"/>
    <a:srgbClr val="50379A"/>
    <a:srgbClr val="E45307"/>
    <a:srgbClr val="7356C7"/>
    <a:srgbClr val="925451"/>
    <a:srgbClr val="FD5954"/>
    <a:srgbClr val="D55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87863" autoAdjust="0"/>
  </p:normalViewPr>
  <p:slideViewPr>
    <p:cSldViewPr>
      <p:cViewPr>
        <p:scale>
          <a:sx n="66" d="100"/>
          <a:sy n="66" d="100"/>
        </p:scale>
        <p:origin x="2700" y="2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4F45">
                <a:alpha val="100000"/>
              </a:srgbClr>
            </a:gs>
            <a:gs pos="100000">
              <a:srgbClr val="F86564">
                <a:alpha val="100000"/>
              </a:srgbClr>
            </a:gs>
          </a:gsLst>
          <a:lin ang="54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58BDBE3-CE76-EDDA-A371-2A74CFCB14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Christmas Party #2">
            <a:extLst>
              <a:ext uri="{FF2B5EF4-FFF2-40B4-BE49-F238E27FC236}">
                <a16:creationId xmlns:a16="http://schemas.microsoft.com/office/drawing/2014/main" id="{832A7A80-DDA3-D98C-9F95-7F7EEE28D322}"/>
              </a:ext>
            </a:extLst>
          </p:cNvPr>
          <p:cNvGrpSpPr/>
          <p:nvPr/>
        </p:nvGrpSpPr>
        <p:grpSpPr>
          <a:xfrm>
            <a:off x="-548699" y="-586528"/>
            <a:ext cx="8974748" cy="11279930"/>
            <a:chOff x="-548699" y="-586528"/>
            <a:chExt cx="8974748" cy="1127993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9683879-B4B1-D6AD-AE00-053B4663115C}"/>
                </a:ext>
              </a:extLst>
            </p:cNvPr>
            <p:cNvSpPr/>
            <p:nvPr/>
          </p:nvSpPr>
          <p:spPr>
            <a:xfrm>
              <a:off x="0" y="0"/>
              <a:ext cx="7556500" cy="10693400"/>
            </a:xfrm>
            <a:prstGeom prst="rect">
              <a:avLst/>
            </a:prstGeom>
            <a:gradFill>
              <a:gsLst>
                <a:gs pos="0">
                  <a:srgbClr val="FF4F45">
                    <a:alpha val="100000"/>
                  </a:srgbClr>
                </a:gs>
                <a:gs pos="100000">
                  <a:srgbClr val="F86564">
                    <a:alpha val="100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Snow Background">
              <a:extLst>
                <a:ext uri="{FF2B5EF4-FFF2-40B4-BE49-F238E27FC236}">
                  <a16:creationId xmlns:a16="http://schemas.microsoft.com/office/drawing/2014/main" id="{65C26546-6C94-AD00-B3FF-BB5E88F9E92C}"/>
                </a:ext>
              </a:extLst>
            </p:cNvPr>
            <p:cNvSpPr/>
            <p:nvPr/>
          </p:nvSpPr>
          <p:spPr>
            <a:xfrm rot="5400000">
              <a:off x="-1566701" y="1566702"/>
              <a:ext cx="10693401" cy="7560000"/>
            </a:xfrm>
            <a:custGeom>
              <a:avLst/>
              <a:gdLst/>
              <a:ahLst/>
              <a:cxnLst/>
              <a:rect l="l" t="t" r="r" b="b"/>
              <a:pathLst>
                <a:path w="13412903" h="7560000">
                  <a:moveTo>
                    <a:pt x="0" y="0"/>
                  </a:moveTo>
                  <a:lnTo>
                    <a:pt x="13412904" y="0"/>
                  </a:lnTo>
                  <a:lnTo>
                    <a:pt x="13412904" y="7560000"/>
                  </a:lnTo>
                  <a:lnTo>
                    <a:pt x="0" y="7560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13000"/>
              </a:blip>
              <a:stretch>
                <a:fillRect r="-25432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0B13F6-7486-CDC2-1BAD-E2DFA77EBB93}"/>
                </a:ext>
              </a:extLst>
            </p:cNvPr>
            <p:cNvGrpSpPr/>
            <p:nvPr/>
          </p:nvGrpSpPr>
          <p:grpSpPr>
            <a:xfrm>
              <a:off x="406126" y="3828767"/>
              <a:ext cx="7123940" cy="2045105"/>
              <a:chOff x="406126" y="3828767"/>
              <a:chExt cx="7123940" cy="2045105"/>
            </a:xfrm>
          </p:grpSpPr>
          <p:sp>
            <p:nvSpPr>
              <p:cNvPr id="3" name="Freeform 3">
                <a:extLst>
                  <a:ext uri="{FF2B5EF4-FFF2-40B4-BE49-F238E27FC236}">
                    <a16:creationId xmlns:a16="http://schemas.microsoft.com/office/drawing/2014/main" id="{28EC5772-D457-09E4-03E1-4BA62A5BF540}"/>
                  </a:ext>
                </a:extLst>
              </p:cNvPr>
              <p:cNvSpPr/>
              <p:nvPr/>
            </p:nvSpPr>
            <p:spPr>
              <a:xfrm rot="2000858">
                <a:off x="406126" y="4528520"/>
                <a:ext cx="1946260" cy="1345352"/>
              </a:xfrm>
              <a:custGeom>
                <a:avLst/>
                <a:gdLst/>
                <a:ahLst/>
                <a:cxnLst/>
                <a:rect l="l" t="t" r="r" b="b"/>
                <a:pathLst>
                  <a:path w="1946260" h="1345352">
                    <a:moveTo>
                      <a:pt x="0" y="0"/>
                    </a:moveTo>
                    <a:lnTo>
                      <a:pt x="1946260" y="0"/>
                    </a:lnTo>
                    <a:lnTo>
                      <a:pt x="1946260" y="1345352"/>
                    </a:lnTo>
                    <a:lnTo>
                      <a:pt x="0" y="134535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alphaModFix amt="30000"/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Freeform 4">
                <a:extLst>
                  <a:ext uri="{FF2B5EF4-FFF2-40B4-BE49-F238E27FC236}">
                    <a16:creationId xmlns:a16="http://schemas.microsoft.com/office/drawing/2014/main" id="{B9649663-AD66-3D7C-E217-2868989AF5A7}"/>
                  </a:ext>
                </a:extLst>
              </p:cNvPr>
              <p:cNvSpPr/>
              <p:nvPr/>
            </p:nvSpPr>
            <p:spPr>
              <a:xfrm rot="3422830">
                <a:off x="6482214" y="4020060"/>
                <a:ext cx="1239145" cy="856559"/>
              </a:xfrm>
              <a:custGeom>
                <a:avLst/>
                <a:gdLst/>
                <a:ahLst/>
                <a:cxnLst/>
                <a:rect l="l" t="t" r="r" b="b"/>
                <a:pathLst>
                  <a:path w="1239145" h="856559">
                    <a:moveTo>
                      <a:pt x="0" y="0"/>
                    </a:moveTo>
                    <a:lnTo>
                      <a:pt x="1239145" y="0"/>
                    </a:lnTo>
                    <a:lnTo>
                      <a:pt x="1239145" y="856559"/>
                    </a:lnTo>
                    <a:lnTo>
                      <a:pt x="0" y="8565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30000"/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C578E01-C9B2-BC51-34A2-241DCEEDBFF0}"/>
                </a:ext>
              </a:extLst>
            </p:cNvPr>
            <p:cNvGrpSpPr/>
            <p:nvPr/>
          </p:nvGrpSpPr>
          <p:grpSpPr>
            <a:xfrm>
              <a:off x="983403" y="-532306"/>
              <a:ext cx="6576597" cy="8470907"/>
              <a:chOff x="983403" y="-532306"/>
              <a:chExt cx="6576597" cy="8470907"/>
            </a:xfrm>
          </p:grpSpPr>
          <p:sp>
            <p:nvSpPr>
              <p:cNvPr id="6" name="Freeform 6">
                <a:extLst>
                  <a:ext uri="{FF2B5EF4-FFF2-40B4-BE49-F238E27FC236}">
                    <a16:creationId xmlns:a16="http://schemas.microsoft.com/office/drawing/2014/main" id="{9C6189D7-56F0-85BD-0479-DFC9D83351F4}"/>
                  </a:ext>
                </a:extLst>
              </p:cNvPr>
              <p:cNvSpPr/>
              <p:nvPr/>
            </p:nvSpPr>
            <p:spPr>
              <a:xfrm>
                <a:off x="983403" y="-532306"/>
                <a:ext cx="5875768" cy="5875768"/>
              </a:xfrm>
              <a:custGeom>
                <a:avLst/>
                <a:gdLst/>
                <a:ahLst/>
                <a:cxnLst/>
                <a:rect l="l" t="t" r="r" b="b"/>
                <a:pathLst>
                  <a:path w="5875768" h="5875768">
                    <a:moveTo>
                      <a:pt x="0" y="0"/>
                    </a:moveTo>
                    <a:lnTo>
                      <a:pt x="5875768" y="0"/>
                    </a:lnTo>
                    <a:lnTo>
                      <a:pt x="5875768" y="5875767"/>
                    </a:lnTo>
                    <a:lnTo>
                      <a:pt x="0" y="587576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alphaModFix amt="86000"/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Freeform 11">
                <a:extLst>
                  <a:ext uri="{FF2B5EF4-FFF2-40B4-BE49-F238E27FC236}">
                    <a16:creationId xmlns:a16="http://schemas.microsoft.com/office/drawing/2014/main" id="{4DE835DD-9380-44D6-8AD8-8E9E88C639F3}"/>
                  </a:ext>
                </a:extLst>
              </p:cNvPr>
              <p:cNvSpPr/>
              <p:nvPr/>
            </p:nvSpPr>
            <p:spPr>
              <a:xfrm>
                <a:off x="1684232" y="2062833"/>
                <a:ext cx="5875768" cy="5875768"/>
              </a:xfrm>
              <a:custGeom>
                <a:avLst/>
                <a:gdLst/>
                <a:ahLst/>
                <a:cxnLst/>
                <a:rect l="l" t="t" r="r" b="b"/>
                <a:pathLst>
                  <a:path w="5875768" h="5875768">
                    <a:moveTo>
                      <a:pt x="0" y="0"/>
                    </a:moveTo>
                    <a:lnTo>
                      <a:pt x="5875768" y="0"/>
                    </a:lnTo>
                    <a:lnTo>
                      <a:pt x="5875768" y="5875767"/>
                    </a:lnTo>
                    <a:lnTo>
                      <a:pt x="0" y="587576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9" name="Gradient Overlay">
              <a:extLst>
                <a:ext uri="{FF2B5EF4-FFF2-40B4-BE49-F238E27FC236}">
                  <a16:creationId xmlns:a16="http://schemas.microsoft.com/office/drawing/2014/main" id="{59996643-AA7E-762C-E890-A29FD4E2C409}"/>
                </a:ext>
              </a:extLst>
            </p:cNvPr>
            <p:cNvSpPr/>
            <p:nvPr/>
          </p:nvSpPr>
          <p:spPr>
            <a:xfrm>
              <a:off x="0" y="0"/>
              <a:ext cx="7560000" cy="2339102"/>
            </a:xfrm>
            <a:custGeom>
              <a:avLst/>
              <a:gdLst/>
              <a:ahLst/>
              <a:cxnLst/>
              <a:rect l="l" t="t" r="r" b="b"/>
              <a:pathLst>
                <a:path w="2709333" h="838281">
                  <a:moveTo>
                    <a:pt x="0" y="0"/>
                  </a:moveTo>
                  <a:lnTo>
                    <a:pt x="2709333" y="0"/>
                  </a:lnTo>
                  <a:lnTo>
                    <a:pt x="2709333" y="838281"/>
                  </a:lnTo>
                  <a:lnTo>
                    <a:pt x="0" y="838281"/>
                  </a:lnTo>
                  <a:close/>
                </a:path>
              </a:pathLst>
            </a:custGeom>
            <a:gradFill rotWithShape="1">
              <a:gsLst>
                <a:gs pos="0">
                  <a:srgbClr val="CE665D">
                    <a:alpha val="100000"/>
                  </a:srgbClr>
                </a:gs>
                <a:gs pos="100000">
                  <a:srgbClr val="CE665D">
                    <a:alpha val="0"/>
                  </a:srgbClr>
                </a:gs>
              </a:gsLst>
              <a:lin ang="5400000"/>
            </a:grad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F8128C5-6B5C-66E3-6D68-0840928D42ED}"/>
                </a:ext>
              </a:extLst>
            </p:cNvPr>
            <p:cNvGrpSpPr/>
            <p:nvPr/>
          </p:nvGrpSpPr>
          <p:grpSpPr>
            <a:xfrm>
              <a:off x="-548699" y="-586528"/>
              <a:ext cx="8974748" cy="1345353"/>
              <a:chOff x="-548699" y="-586528"/>
              <a:chExt cx="8974748" cy="1345353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0216EA0C-201C-2858-C367-5E68EFB3F3D7}"/>
                  </a:ext>
                </a:extLst>
              </p:cNvPr>
              <p:cNvSpPr/>
              <p:nvPr/>
            </p:nvSpPr>
            <p:spPr>
              <a:xfrm rot="1900045">
                <a:off x="6479788" y="-586528"/>
                <a:ext cx="1946261" cy="1345353"/>
              </a:xfrm>
              <a:custGeom>
                <a:avLst/>
                <a:gdLst>
                  <a:gd name="connsiteX0" fmla="*/ 0 w 1946261"/>
                  <a:gd name="connsiteY0" fmla="*/ 1005380 h 1345353"/>
                  <a:gd name="connsiteX1" fmla="*/ 74320 w 1946261"/>
                  <a:gd name="connsiteY1" fmla="*/ 1125868 h 1345353"/>
                  <a:gd name="connsiteX2" fmla="*/ 1020116 w 1946261"/>
                  <a:gd name="connsiteY2" fmla="*/ 542476 h 1345353"/>
                  <a:gd name="connsiteX3" fmla="*/ 1515352 w 1946261"/>
                  <a:gd name="connsiteY3" fmla="*/ 1345353 h 1345353"/>
                  <a:gd name="connsiteX4" fmla="*/ 0 w 1946261"/>
                  <a:gd name="connsiteY4" fmla="*/ 1345353 h 1345353"/>
                  <a:gd name="connsiteX5" fmla="*/ 1080927 w 1946261"/>
                  <a:gd name="connsiteY5" fmla="*/ 0 h 1345353"/>
                  <a:gd name="connsiteX6" fmla="*/ 1946261 w 1946261"/>
                  <a:gd name="connsiteY6" fmla="*/ 0 h 1345353"/>
                  <a:gd name="connsiteX7" fmla="*/ 1946261 w 1946261"/>
                  <a:gd name="connsiteY7" fmla="*/ 1189015 h 1345353"/>
                  <a:gd name="connsiteX8" fmla="*/ 1368780 w 1946261"/>
                  <a:gd name="connsiteY8" fmla="*/ 252803 h 1345353"/>
                  <a:gd name="connsiteX9" fmla="*/ 1273221 w 1946261"/>
                  <a:gd name="connsiteY9" fmla="*/ 311746 h 1345353"/>
                  <a:gd name="connsiteX10" fmla="*/ 0 w 1946261"/>
                  <a:gd name="connsiteY10" fmla="*/ 0 h 1345353"/>
                  <a:gd name="connsiteX11" fmla="*/ 682979 w 1946261"/>
                  <a:gd name="connsiteY11" fmla="*/ 0 h 1345353"/>
                  <a:gd name="connsiteX12" fmla="*/ 0 w 1946261"/>
                  <a:gd name="connsiteY12" fmla="*/ 421280 h 1345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46261" h="1345353">
                    <a:moveTo>
                      <a:pt x="0" y="1005380"/>
                    </a:moveTo>
                    <a:lnTo>
                      <a:pt x="74320" y="1125868"/>
                    </a:lnTo>
                    <a:lnTo>
                      <a:pt x="1020116" y="542476"/>
                    </a:lnTo>
                    <a:lnTo>
                      <a:pt x="1515352" y="1345353"/>
                    </a:lnTo>
                    <a:lnTo>
                      <a:pt x="0" y="1345353"/>
                    </a:lnTo>
                    <a:close/>
                    <a:moveTo>
                      <a:pt x="1080927" y="0"/>
                    </a:moveTo>
                    <a:lnTo>
                      <a:pt x="1946261" y="0"/>
                    </a:lnTo>
                    <a:lnTo>
                      <a:pt x="1946261" y="1189015"/>
                    </a:lnTo>
                    <a:lnTo>
                      <a:pt x="1368780" y="252803"/>
                    </a:lnTo>
                    <a:lnTo>
                      <a:pt x="1273221" y="311746"/>
                    </a:lnTo>
                    <a:close/>
                    <a:moveTo>
                      <a:pt x="0" y="0"/>
                    </a:moveTo>
                    <a:lnTo>
                      <a:pt x="682979" y="0"/>
                    </a:lnTo>
                    <a:lnTo>
                      <a:pt x="0" y="421280"/>
                    </a:lnTo>
                    <a:close/>
                  </a:path>
                </a:pathLst>
              </a:custGeom>
              <a:blipFill>
                <a:blip r:embed="rId4">
                  <a:alphaModFix amt="24000"/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11469C6-B8B8-7596-E118-5857EB79DD28}"/>
                  </a:ext>
                </a:extLst>
              </p:cNvPr>
              <p:cNvSpPr/>
              <p:nvPr/>
            </p:nvSpPr>
            <p:spPr>
              <a:xfrm rot="19965498">
                <a:off x="-548699" y="-456600"/>
                <a:ext cx="1321085" cy="913200"/>
              </a:xfrm>
              <a:custGeom>
                <a:avLst/>
                <a:gdLst>
                  <a:gd name="connsiteX0" fmla="*/ 561104 w 1321085"/>
                  <a:gd name="connsiteY0" fmla="*/ 405404 h 913200"/>
                  <a:gd name="connsiteX1" fmla="*/ 1321085 w 1321085"/>
                  <a:gd name="connsiteY1" fmla="*/ 796681 h 913200"/>
                  <a:gd name="connsiteX2" fmla="*/ 1321085 w 1321085"/>
                  <a:gd name="connsiteY2" fmla="*/ 913200 h 913200"/>
                  <a:gd name="connsiteX3" fmla="*/ 299665 w 1321085"/>
                  <a:gd name="connsiteY3" fmla="*/ 913200 h 913200"/>
                  <a:gd name="connsiteX4" fmla="*/ 384273 w 1321085"/>
                  <a:gd name="connsiteY4" fmla="*/ 0 h 913200"/>
                  <a:gd name="connsiteX5" fmla="*/ 0 w 1321085"/>
                  <a:gd name="connsiteY5" fmla="*/ 746377 h 913200"/>
                  <a:gd name="connsiteX6" fmla="*/ 0 w 1321085"/>
                  <a:gd name="connsiteY6" fmla="*/ 0 h 913200"/>
                  <a:gd name="connsiteX7" fmla="*/ 1321085 w 1321085"/>
                  <a:gd name="connsiteY7" fmla="*/ 0 h 913200"/>
                  <a:gd name="connsiteX8" fmla="*/ 1321085 w 1321085"/>
                  <a:gd name="connsiteY8" fmla="*/ 313436 h 913200"/>
                  <a:gd name="connsiteX9" fmla="*/ 739582 w 1321085"/>
                  <a:gd name="connsiteY9" fmla="*/ 14048 h 913200"/>
                  <a:gd name="connsiteX10" fmla="*/ 718855 w 1321085"/>
                  <a:gd name="connsiteY10" fmla="*/ 54305 h 913200"/>
                  <a:gd name="connsiteX11" fmla="*/ 613378 w 1321085"/>
                  <a:gd name="connsiteY11" fmla="*/ 0 h 91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1085" h="913200">
                    <a:moveTo>
                      <a:pt x="561104" y="405404"/>
                    </a:moveTo>
                    <a:lnTo>
                      <a:pt x="1321085" y="796681"/>
                    </a:lnTo>
                    <a:lnTo>
                      <a:pt x="1321085" y="913200"/>
                    </a:lnTo>
                    <a:lnTo>
                      <a:pt x="299665" y="913200"/>
                    </a:lnTo>
                    <a:close/>
                    <a:moveTo>
                      <a:pt x="384273" y="0"/>
                    </a:moveTo>
                    <a:lnTo>
                      <a:pt x="0" y="746377"/>
                    </a:lnTo>
                    <a:lnTo>
                      <a:pt x="0" y="0"/>
                    </a:lnTo>
                    <a:close/>
                    <a:moveTo>
                      <a:pt x="1321085" y="0"/>
                    </a:moveTo>
                    <a:lnTo>
                      <a:pt x="1321085" y="313436"/>
                    </a:lnTo>
                    <a:lnTo>
                      <a:pt x="739582" y="14048"/>
                    </a:lnTo>
                    <a:lnTo>
                      <a:pt x="718855" y="54305"/>
                    </a:lnTo>
                    <a:lnTo>
                      <a:pt x="613378" y="0"/>
                    </a:lnTo>
                    <a:close/>
                  </a:path>
                </a:pathLst>
              </a:custGeom>
              <a:blipFill>
                <a:blip r:embed="rId4">
                  <a:alphaModFix amt="24000"/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054B11C-04BE-5074-61C8-83EFDA715239}"/>
                </a:ext>
              </a:extLst>
            </p:cNvPr>
            <p:cNvGrpSpPr/>
            <p:nvPr/>
          </p:nvGrpSpPr>
          <p:grpSpPr>
            <a:xfrm>
              <a:off x="110094" y="392403"/>
              <a:ext cx="7336313" cy="1203525"/>
              <a:chOff x="110094" y="392403"/>
              <a:chExt cx="7336313" cy="1203525"/>
            </a:xfrm>
          </p:grpSpPr>
          <p:sp>
            <p:nvSpPr>
              <p:cNvPr id="28" name="TextBox 28">
                <a:extLst>
                  <a:ext uri="{FF2B5EF4-FFF2-40B4-BE49-F238E27FC236}">
                    <a16:creationId xmlns:a16="http://schemas.microsoft.com/office/drawing/2014/main" id="{4036B90B-C55E-B86A-CFCC-A69907476548}"/>
                  </a:ext>
                </a:extLst>
              </p:cNvPr>
              <p:cNvSpPr txBox="1"/>
              <p:nvPr/>
            </p:nvSpPr>
            <p:spPr>
              <a:xfrm>
                <a:off x="110094" y="395920"/>
                <a:ext cx="7336313" cy="120000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7798" spc="-358" dirty="0">
                    <a:solidFill>
                      <a:srgbClr val="FFFFFF"/>
                    </a:solidFill>
                    <a:latin typeface="Playfair Display SemiBold" pitchFamily="2" charset="0"/>
                    <a:ea typeface="Playfair Display Semi-Bold"/>
                    <a:cs typeface="Playfair Display Semi-Bold"/>
                    <a:sym typeface="Playfair Display Semi-Bold"/>
                  </a:rPr>
                  <a:t>Christmas</a:t>
                </a:r>
                <a:r>
                  <a:rPr lang="en-US" sz="7798" i="1" spc="-358" dirty="0">
                    <a:solidFill>
                      <a:srgbClr val="FFFFFF"/>
                    </a:solidFill>
                    <a:latin typeface="Playfair Display SemiBold" pitchFamily="2" charset="0"/>
                    <a:ea typeface="Playfair Display Semi-Bold"/>
                    <a:cs typeface="Playfair Display Semi-Bold"/>
                    <a:sym typeface="Playfair Display Semi-Bold"/>
                  </a:rPr>
                  <a:t> </a:t>
                </a:r>
                <a:r>
                  <a:rPr lang="en-US" sz="7798" i="1" spc="-358" dirty="0">
                    <a:solidFill>
                      <a:srgbClr val="FFF6A6"/>
                    </a:solidFill>
                    <a:latin typeface="Playfair Display SemiBold" pitchFamily="2" charset="0"/>
                    <a:ea typeface="Playfair Display Semi-Bold Italics"/>
                    <a:cs typeface="Playfair Display Semi-Bold Italics"/>
                    <a:sym typeface="Playfair Display Semi-Bold Italics"/>
                  </a:rPr>
                  <a:t>Party!</a:t>
                </a:r>
              </a:p>
            </p:txBody>
          </p:sp>
          <p:sp>
            <p:nvSpPr>
              <p:cNvPr id="29" name="TextBox 29">
                <a:extLst>
                  <a:ext uri="{FF2B5EF4-FFF2-40B4-BE49-F238E27FC236}">
                    <a16:creationId xmlns:a16="http://schemas.microsoft.com/office/drawing/2014/main" id="{337463B2-37DB-604A-536F-5234A450B2F0}"/>
                  </a:ext>
                </a:extLst>
              </p:cNvPr>
              <p:cNvSpPr txBox="1"/>
              <p:nvPr/>
            </p:nvSpPr>
            <p:spPr>
              <a:xfrm>
                <a:off x="314123" y="392403"/>
                <a:ext cx="1520781" cy="17697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just">
                  <a:spcBef>
                    <a:spcPct val="0"/>
                  </a:spcBef>
                </a:pPr>
                <a:r>
                  <a:rPr lang="en-US" sz="1150" spc="-64" dirty="0">
                    <a:solidFill>
                      <a:srgbClr val="FFFFFF">
                        <a:alpha val="80000"/>
                      </a:srgbClr>
                    </a:solidFill>
                    <a:latin typeface="Playfair Display"/>
                    <a:ea typeface="Playfair Display"/>
                    <a:cs typeface="Playfair Display"/>
                    <a:sym typeface="Playfair Display"/>
                  </a:rPr>
                  <a:t>Sign up Sheet</a:t>
                </a:r>
              </a:p>
            </p:txBody>
          </p:sp>
        </p:grpSp>
        <p:sp>
          <p:nvSpPr>
            <p:cNvPr id="12" name="Santa">
              <a:extLst>
                <a:ext uri="{FF2B5EF4-FFF2-40B4-BE49-F238E27FC236}">
                  <a16:creationId xmlns:a16="http://schemas.microsoft.com/office/drawing/2014/main" id="{3C063E43-81A9-F76B-4868-3EABD8A10E2E}"/>
                </a:ext>
              </a:extLst>
            </p:cNvPr>
            <p:cNvSpPr/>
            <p:nvPr/>
          </p:nvSpPr>
          <p:spPr>
            <a:xfrm flipH="1">
              <a:off x="1438037" y="1169551"/>
              <a:ext cx="4966500" cy="7210889"/>
            </a:xfrm>
            <a:custGeom>
              <a:avLst/>
              <a:gdLst/>
              <a:ahLst/>
              <a:cxnLst/>
              <a:rect l="l" t="t" r="r" b="b"/>
              <a:pathLst>
                <a:path w="4966500" h="7210889">
                  <a:moveTo>
                    <a:pt x="4966500" y="0"/>
                  </a:moveTo>
                  <a:lnTo>
                    <a:pt x="0" y="0"/>
                  </a:lnTo>
                  <a:lnTo>
                    <a:pt x="0" y="7210889"/>
                  </a:lnTo>
                  <a:lnTo>
                    <a:pt x="4966500" y="7210889"/>
                  </a:lnTo>
                  <a:lnTo>
                    <a:pt x="496650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6D22EF94-1F87-09C7-2856-0087F0154CBE}"/>
                </a:ext>
              </a:extLst>
            </p:cNvPr>
            <p:cNvSpPr/>
            <p:nvPr/>
          </p:nvSpPr>
          <p:spPr>
            <a:xfrm>
              <a:off x="-474380" y="2952876"/>
              <a:ext cx="5875768" cy="5875768"/>
            </a:xfrm>
            <a:custGeom>
              <a:avLst/>
              <a:gdLst/>
              <a:ahLst/>
              <a:cxnLst/>
              <a:rect l="l" t="t" r="r" b="b"/>
              <a:pathLst>
                <a:path w="5875768" h="5875768">
                  <a:moveTo>
                    <a:pt x="0" y="0"/>
                  </a:moveTo>
                  <a:lnTo>
                    <a:pt x="5875768" y="0"/>
                  </a:lnTo>
                  <a:lnTo>
                    <a:pt x="5875768" y="5875768"/>
                  </a:lnTo>
                  <a:lnTo>
                    <a:pt x="0" y="587576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75000"/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869B6F8-9A28-3177-4D79-1BF127E0AC63}"/>
                </a:ext>
              </a:extLst>
            </p:cNvPr>
            <p:cNvGrpSpPr/>
            <p:nvPr/>
          </p:nvGrpSpPr>
          <p:grpSpPr>
            <a:xfrm>
              <a:off x="294669" y="1646824"/>
              <a:ext cx="6887475" cy="1007238"/>
              <a:chOff x="294669" y="1646824"/>
              <a:chExt cx="6887475" cy="1007238"/>
            </a:xfrm>
          </p:grpSpPr>
          <p:sp>
            <p:nvSpPr>
              <p:cNvPr id="2" name="Freeform 2">
                <a:extLst>
                  <a:ext uri="{FF2B5EF4-FFF2-40B4-BE49-F238E27FC236}">
                    <a16:creationId xmlns:a16="http://schemas.microsoft.com/office/drawing/2014/main" id="{1EA6AF91-4554-FED1-13EE-1383C2482FCF}"/>
                  </a:ext>
                </a:extLst>
              </p:cNvPr>
              <p:cNvSpPr/>
              <p:nvPr/>
            </p:nvSpPr>
            <p:spPr>
              <a:xfrm rot="848632">
                <a:off x="2122479" y="1809193"/>
                <a:ext cx="878928" cy="844869"/>
              </a:xfrm>
              <a:custGeom>
                <a:avLst/>
                <a:gdLst/>
                <a:ahLst/>
                <a:cxnLst/>
                <a:rect l="l" t="t" r="r" b="b"/>
                <a:pathLst>
                  <a:path w="878928" h="844869">
                    <a:moveTo>
                      <a:pt x="0" y="0"/>
                    </a:moveTo>
                    <a:lnTo>
                      <a:pt x="878928" y="0"/>
                    </a:lnTo>
                    <a:lnTo>
                      <a:pt x="878928" y="844869"/>
                    </a:lnTo>
                    <a:lnTo>
                      <a:pt x="0" y="8448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212563B4-1432-FD98-65B0-D75C7E401F2B}"/>
                  </a:ext>
                </a:extLst>
              </p:cNvPr>
              <p:cNvSpPr/>
              <p:nvPr/>
            </p:nvSpPr>
            <p:spPr>
              <a:xfrm rot="-1617185">
                <a:off x="4985524" y="1646824"/>
                <a:ext cx="563806" cy="541959"/>
              </a:xfrm>
              <a:custGeom>
                <a:avLst/>
                <a:gdLst/>
                <a:ahLst/>
                <a:cxnLst/>
                <a:rect l="l" t="t" r="r" b="b"/>
                <a:pathLst>
                  <a:path w="563806" h="541959">
                    <a:moveTo>
                      <a:pt x="0" y="0"/>
                    </a:moveTo>
                    <a:lnTo>
                      <a:pt x="563807" y="0"/>
                    </a:lnTo>
                    <a:lnTo>
                      <a:pt x="563807" y="541959"/>
                    </a:lnTo>
                    <a:lnTo>
                      <a:pt x="0" y="5419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42310685-1709-9349-3B3F-9AE424A76B2A}"/>
                  </a:ext>
                </a:extLst>
              </p:cNvPr>
              <p:cNvSpPr/>
              <p:nvPr/>
            </p:nvSpPr>
            <p:spPr>
              <a:xfrm>
                <a:off x="6720812" y="2062833"/>
                <a:ext cx="461332" cy="528747"/>
              </a:xfrm>
              <a:custGeom>
                <a:avLst/>
                <a:gdLst/>
                <a:ahLst/>
                <a:cxnLst/>
                <a:rect l="l" t="t" r="r" b="b"/>
                <a:pathLst>
                  <a:path w="615109" h="704996">
                    <a:moveTo>
                      <a:pt x="0" y="0"/>
                    </a:moveTo>
                    <a:lnTo>
                      <a:pt x="615109" y="0"/>
                    </a:lnTo>
                    <a:lnTo>
                      <a:pt x="615109" y="704996"/>
                    </a:lnTo>
                    <a:lnTo>
                      <a:pt x="0" y="70499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EC33DA4E-D4A7-2BDD-012A-B5EF12FF84BF}"/>
                  </a:ext>
                </a:extLst>
              </p:cNvPr>
              <p:cNvSpPr/>
              <p:nvPr/>
            </p:nvSpPr>
            <p:spPr>
              <a:xfrm>
                <a:off x="294669" y="1725662"/>
                <a:ext cx="688735" cy="789381"/>
              </a:xfrm>
              <a:custGeom>
                <a:avLst/>
                <a:gdLst/>
                <a:ahLst/>
                <a:cxnLst/>
                <a:rect l="l" t="t" r="r" b="b"/>
                <a:pathLst>
                  <a:path w="918313" h="1052508">
                    <a:moveTo>
                      <a:pt x="0" y="0"/>
                    </a:moveTo>
                    <a:lnTo>
                      <a:pt x="918313" y="0"/>
                    </a:lnTo>
                    <a:lnTo>
                      <a:pt x="918313" y="1052508"/>
                    </a:lnTo>
                    <a:lnTo>
                      <a:pt x="0" y="105250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7CC4266-788B-C1C4-DEED-A76F051AE032}"/>
                </a:ext>
              </a:extLst>
            </p:cNvPr>
            <p:cNvGrpSpPr/>
            <p:nvPr/>
          </p:nvGrpSpPr>
          <p:grpSpPr>
            <a:xfrm>
              <a:off x="6040175" y="2684181"/>
              <a:ext cx="1222933" cy="1090155"/>
              <a:chOff x="6040175" y="2684181"/>
              <a:chExt cx="1222933" cy="1090155"/>
            </a:xfrm>
          </p:grpSpPr>
          <p:sp>
            <p:nvSpPr>
              <p:cNvPr id="19" name="AutoShape 19">
                <a:extLst>
                  <a:ext uri="{FF2B5EF4-FFF2-40B4-BE49-F238E27FC236}">
                    <a16:creationId xmlns:a16="http://schemas.microsoft.com/office/drawing/2014/main" id="{01CFA5A7-AA42-F34A-025A-92E8C9D5B9F3}"/>
                  </a:ext>
                </a:extLst>
              </p:cNvPr>
              <p:cNvSpPr/>
              <p:nvPr/>
            </p:nvSpPr>
            <p:spPr>
              <a:xfrm flipV="1">
                <a:off x="6128244" y="3278362"/>
                <a:ext cx="1053900" cy="0"/>
              </a:xfrm>
              <a:prstGeom prst="line">
                <a:avLst/>
              </a:prstGeom>
              <a:ln w="6350" cap="flat">
                <a:solidFill>
                  <a:srgbClr val="FFF6A6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TextBox 17">
                <a:extLst>
                  <a:ext uri="{FF2B5EF4-FFF2-40B4-BE49-F238E27FC236}">
                    <a16:creationId xmlns:a16="http://schemas.microsoft.com/office/drawing/2014/main" id="{055784FD-0625-A250-7495-CD56DA9A718C}"/>
                  </a:ext>
                </a:extLst>
              </p:cNvPr>
              <p:cNvSpPr txBox="1"/>
              <p:nvPr/>
            </p:nvSpPr>
            <p:spPr>
              <a:xfrm>
                <a:off x="6040175" y="3351143"/>
                <a:ext cx="1222933" cy="423193"/>
              </a:xfrm>
              <a:prstGeom prst="rect">
                <a:avLst/>
              </a:prstGeom>
            </p:spPr>
            <p:txBody>
              <a:bodyPr lIns="0" tIns="0" rIns="91440" bIns="0" rtlCol="0" anchor="t">
                <a:spAutoFit/>
              </a:bodyPr>
              <a:lstStyle/>
              <a:p>
                <a:pPr algn="r">
                  <a:lnSpc>
                    <a:spcPts val="1070"/>
                  </a:lnSpc>
                </a:pPr>
                <a:r>
                  <a:rPr lang="en-US" sz="1050" spc="-58" dirty="0">
                    <a:solidFill>
                      <a:srgbClr val="FEFCFC">
                        <a:alpha val="69804"/>
                      </a:srgbClr>
                    </a:solidFill>
                    <a:latin typeface="Playfair Display SemiBold" pitchFamily="2" charset="0"/>
                    <a:ea typeface="Playfair Display Semi-Bold"/>
                    <a:cs typeface="Playfair Display Semi-Bold"/>
                    <a:sym typeface="Playfair Display Semi-Bold"/>
                  </a:rPr>
                  <a:t>Community Center Hall, 123 Main Street Hometown, USA</a:t>
                </a:r>
              </a:p>
            </p:txBody>
          </p:sp>
          <p:sp>
            <p:nvSpPr>
              <p:cNvPr id="18" name="TextBox 18">
                <a:extLst>
                  <a:ext uri="{FF2B5EF4-FFF2-40B4-BE49-F238E27FC236}">
                    <a16:creationId xmlns:a16="http://schemas.microsoft.com/office/drawing/2014/main" id="{8915A78E-02FB-12EA-0D29-6BB27BA633CF}"/>
                  </a:ext>
                </a:extLst>
              </p:cNvPr>
              <p:cNvSpPr txBox="1"/>
              <p:nvPr/>
            </p:nvSpPr>
            <p:spPr>
              <a:xfrm>
                <a:off x="6271318" y="2684181"/>
                <a:ext cx="896541" cy="5642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2164"/>
                  </a:lnSpc>
                </a:pPr>
                <a:r>
                  <a:rPr lang="en-US" sz="2150" spc="-108" dirty="0">
                    <a:solidFill>
                      <a:srgbClr val="FFF6A6">
                        <a:alpha val="89804"/>
                      </a:srgbClr>
                    </a:solidFill>
                    <a:latin typeface="Playfair Display SemiBold" pitchFamily="2" charset="0"/>
                    <a:ea typeface="Playfair Display Semi-Bold"/>
                    <a:cs typeface="Playfair Display Semi-Bold"/>
                    <a:sym typeface="Playfair Display Semi-Bold"/>
                  </a:rPr>
                  <a:t>ANNA’S</a:t>
                </a:r>
              </a:p>
              <a:p>
                <a:pPr algn="r">
                  <a:lnSpc>
                    <a:spcPts val="2164"/>
                  </a:lnSpc>
                </a:pPr>
                <a:r>
                  <a:rPr lang="en-US" sz="2150" spc="-108" dirty="0">
                    <a:solidFill>
                      <a:srgbClr val="FFF6A6">
                        <a:alpha val="89804"/>
                      </a:srgbClr>
                    </a:solidFill>
                    <a:latin typeface="Playfair Display SemiBold" pitchFamily="2" charset="0"/>
                    <a:ea typeface="Playfair Display Semi-Bold"/>
                    <a:cs typeface="Playfair Display Semi-Bold"/>
                    <a:sym typeface="Playfair Display Semi-Bold"/>
                  </a:rPr>
                  <a:t>HOUSE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4C92A5-53D7-3C03-60A9-FB851C53F965}"/>
                </a:ext>
              </a:extLst>
            </p:cNvPr>
            <p:cNvGrpSpPr/>
            <p:nvPr/>
          </p:nvGrpSpPr>
          <p:grpSpPr>
            <a:xfrm>
              <a:off x="247192" y="2569546"/>
              <a:ext cx="1587712" cy="1366188"/>
              <a:chOff x="247192" y="2569546"/>
              <a:chExt cx="1587712" cy="1366188"/>
            </a:xfrm>
          </p:grpSpPr>
          <p:sp>
            <p:nvSpPr>
              <p:cNvPr id="22" name="TextBox 22">
                <a:extLst>
                  <a:ext uri="{FF2B5EF4-FFF2-40B4-BE49-F238E27FC236}">
                    <a16:creationId xmlns:a16="http://schemas.microsoft.com/office/drawing/2014/main" id="{A47290AA-1377-0BD1-AAF2-F5AD81D7376A}"/>
                  </a:ext>
                </a:extLst>
              </p:cNvPr>
              <p:cNvSpPr txBox="1"/>
              <p:nvPr/>
            </p:nvSpPr>
            <p:spPr>
              <a:xfrm>
                <a:off x="247192" y="2799668"/>
                <a:ext cx="1232633" cy="69249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spcBef>
                    <a:spcPct val="0"/>
                  </a:spcBef>
                </a:pPr>
                <a:r>
                  <a:rPr lang="en-US" sz="4500" b="1" spc="-225" dirty="0">
                    <a:solidFill>
                      <a:srgbClr val="FFF6A6">
                        <a:alpha val="89804"/>
                      </a:srgbClr>
                    </a:solidFill>
                    <a:latin typeface="Playfair Display" pitchFamily="2" charset="0"/>
                    <a:ea typeface="Playfair Display Bold"/>
                    <a:cs typeface="Playfair Display Bold"/>
                    <a:sym typeface="Playfair Display Bold"/>
                  </a:rPr>
                  <a:t>Dec</a:t>
                </a:r>
              </a:p>
            </p:txBody>
          </p:sp>
          <p:sp>
            <p:nvSpPr>
              <p:cNvPr id="23" name="TextBox 23">
                <a:extLst>
                  <a:ext uri="{FF2B5EF4-FFF2-40B4-BE49-F238E27FC236}">
                    <a16:creationId xmlns:a16="http://schemas.microsoft.com/office/drawing/2014/main" id="{7EE914AA-3A82-DC82-384D-78F9CB0634CD}"/>
                  </a:ext>
                </a:extLst>
              </p:cNvPr>
              <p:cNvSpPr txBox="1"/>
              <p:nvPr/>
            </p:nvSpPr>
            <p:spPr>
              <a:xfrm>
                <a:off x="273235" y="2569546"/>
                <a:ext cx="1561669" cy="3308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spcBef>
                    <a:spcPct val="0"/>
                  </a:spcBef>
                </a:pPr>
                <a:r>
                  <a:rPr lang="en-US" sz="2150" spc="-108" dirty="0">
                    <a:solidFill>
                      <a:srgbClr val="FFFFFF">
                        <a:alpha val="80000"/>
                      </a:srgbClr>
                    </a:solidFill>
                    <a:latin typeface="Playfair Display"/>
                    <a:ea typeface="Playfair Display"/>
                    <a:cs typeface="Playfair Display"/>
                    <a:sym typeface="Playfair Display"/>
                  </a:rPr>
                  <a:t>SUNDAY</a:t>
                </a:r>
              </a:p>
            </p:txBody>
          </p:sp>
          <p:sp>
            <p:nvSpPr>
              <p:cNvPr id="24" name="TextBox 24">
                <a:extLst>
                  <a:ext uri="{FF2B5EF4-FFF2-40B4-BE49-F238E27FC236}">
                    <a16:creationId xmlns:a16="http://schemas.microsoft.com/office/drawing/2014/main" id="{63ED6A5B-15C6-18AE-0C1E-A9EDAEB94998}"/>
                  </a:ext>
                </a:extLst>
              </p:cNvPr>
              <p:cNvSpPr txBox="1"/>
              <p:nvPr/>
            </p:nvSpPr>
            <p:spPr>
              <a:xfrm>
                <a:off x="249573" y="3320181"/>
                <a:ext cx="745519" cy="61555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spcBef>
                    <a:spcPct val="0"/>
                  </a:spcBef>
                </a:pPr>
                <a:r>
                  <a:rPr lang="en-US" sz="4000" b="1" spc="-201" dirty="0">
                    <a:solidFill>
                      <a:srgbClr val="FFF6A6">
                        <a:alpha val="89804"/>
                      </a:srgbClr>
                    </a:solidFill>
                    <a:latin typeface="Playfair Display" pitchFamily="2" charset="0"/>
                    <a:ea typeface="Playfair Display Bold"/>
                    <a:cs typeface="Playfair Display Bold"/>
                    <a:sym typeface="Playfair Display Bold"/>
                  </a:rPr>
                  <a:t>24</a:t>
                </a:r>
              </a:p>
            </p:txBody>
          </p:sp>
          <p:sp>
            <p:nvSpPr>
              <p:cNvPr id="25" name="TextBox 25">
                <a:extLst>
                  <a:ext uri="{FF2B5EF4-FFF2-40B4-BE49-F238E27FC236}">
                    <a16:creationId xmlns:a16="http://schemas.microsoft.com/office/drawing/2014/main" id="{0E1E9598-56D7-159E-88C3-C03047D8F46C}"/>
                  </a:ext>
                </a:extLst>
              </p:cNvPr>
              <p:cNvSpPr txBox="1"/>
              <p:nvPr/>
            </p:nvSpPr>
            <p:spPr>
              <a:xfrm>
                <a:off x="806211" y="3492141"/>
                <a:ext cx="579341" cy="33855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rgbClr val="FFFFFF">
                        <a:alpha val="80000"/>
                      </a:srgbClr>
                    </a:solidFill>
                    <a:latin typeface="Playfair Display"/>
                    <a:ea typeface="Playfair Display"/>
                    <a:cs typeface="Playfair Display"/>
                    <a:sym typeface="Playfair Display"/>
                  </a:rPr>
                  <a:t>10AM-</a:t>
                </a:r>
              </a:p>
              <a:p>
                <a:pPr algn="just">
                  <a:spcBef>
                    <a:spcPct val="0"/>
                  </a:spcBef>
                </a:pPr>
                <a:r>
                  <a:rPr lang="en-US" sz="1100" dirty="0">
                    <a:solidFill>
                      <a:srgbClr val="FFFFFF">
                        <a:alpha val="80000"/>
                      </a:srgbClr>
                    </a:solidFill>
                    <a:latin typeface="Playfair Display"/>
                    <a:ea typeface="Playfair Display"/>
                    <a:cs typeface="Playfair Display"/>
                    <a:sym typeface="Playfair Display"/>
                  </a:rPr>
                  <a:t>12PM</a:t>
                </a:r>
              </a:p>
            </p:txBody>
          </p:sp>
        </p:grpSp>
        <p:sp>
          <p:nvSpPr>
            <p:cNvPr id="30" name="QuickSignup">
              <a:extLst>
                <a:ext uri="{FF2B5EF4-FFF2-40B4-BE49-F238E27FC236}">
                  <a16:creationId xmlns:a16="http://schemas.microsoft.com/office/drawing/2014/main" id="{38378930-3ED8-AEB4-77AC-7AB862E6FB4C}"/>
                </a:ext>
              </a:extLst>
            </p:cNvPr>
            <p:cNvSpPr/>
            <p:nvPr/>
          </p:nvSpPr>
          <p:spPr>
            <a:xfrm>
              <a:off x="6404537" y="409156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4"/>
                  </a:lnTo>
                  <a:lnTo>
                    <a:pt x="0" y="1332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>
                <a:alphaModFix amt="70000"/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14" name="Table">
            <a:extLst>
              <a:ext uri="{FF2B5EF4-FFF2-40B4-BE49-F238E27FC236}">
                <a16:creationId xmlns:a16="http://schemas.microsoft.com/office/drawing/2014/main" id="{7EA2A89E-DB0E-9B3F-71C9-F0388EB12A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235709"/>
              </p:ext>
            </p:extLst>
          </p:nvPr>
        </p:nvGraphicFramePr>
        <p:xfrm>
          <a:off x="276240" y="5345999"/>
          <a:ext cx="7004020" cy="5060748"/>
        </p:xfrm>
        <a:graphic>
          <a:graphicData uri="http://schemas.openxmlformats.org/drawingml/2006/table">
            <a:tbl>
              <a:tblPr/>
              <a:tblGrid>
                <a:gridCol w="14008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08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08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08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08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148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F94C39"/>
                          </a:solidFill>
                          <a:latin typeface="Playfair Display SemiBold" pitchFamily="2" charset="0"/>
                          <a:ea typeface="Playfair Display Semi-Bold"/>
                          <a:cs typeface="Playfair Display Semi-Bold"/>
                          <a:sym typeface="Playfair Display Semi-Bold"/>
                        </a:rPr>
                        <a:t>Full Name</a:t>
                      </a:r>
                      <a:endParaRPr lang="en-US" sz="1100" b="0" dirty="0">
                        <a:latin typeface="Playfair Display SemiBold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A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F94C39"/>
                          </a:solidFill>
                          <a:latin typeface="Playfair Display SemiBold" pitchFamily="2" charset="0"/>
                          <a:ea typeface="Playfair Display Semi-Bold"/>
                          <a:cs typeface="Playfair Display Semi-Bold"/>
                          <a:sym typeface="Playfair Display Semi-Bold"/>
                        </a:rPr>
                        <a:t>Phone</a:t>
                      </a:r>
                      <a:endParaRPr lang="en-US" sz="1100" b="0" dirty="0">
                        <a:latin typeface="Playfair Display SemiBold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A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F94C39"/>
                          </a:solidFill>
                          <a:latin typeface="Playfair Display SemiBold" pitchFamily="2" charset="0"/>
                          <a:ea typeface="Playfair Display Semi-Bold"/>
                          <a:cs typeface="Playfair Display Semi-Bold"/>
                          <a:sym typeface="Playfair Display Semi-Bold"/>
                        </a:rPr>
                        <a:t>Contribution</a:t>
                      </a:r>
                      <a:endParaRPr lang="en-US" sz="1100" b="0" dirty="0">
                        <a:latin typeface="Playfair Display SemiBold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F94C39"/>
                          </a:solidFill>
                          <a:latin typeface="Playfair Display SemiBold" pitchFamily="2" charset="0"/>
                          <a:ea typeface="Playfair Display Semi-Bold"/>
                          <a:cs typeface="Playfair Display Semi-Bold"/>
                          <a:sym typeface="Playfair Display Semi-Bold"/>
                        </a:rPr>
                        <a:t>Quantity</a:t>
                      </a:r>
                      <a:endParaRPr lang="en-US" sz="1100" b="0" dirty="0">
                        <a:latin typeface="Playfair Display SemiBold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b="0" dirty="0">
                          <a:solidFill>
                            <a:srgbClr val="F94C39"/>
                          </a:solidFill>
                          <a:latin typeface="Playfair Display SemiBold" pitchFamily="2" charset="0"/>
                          <a:ea typeface="Playfair Display Semi-Bold"/>
                          <a:cs typeface="Playfair Display Semi-Bold"/>
                          <a:sym typeface="Playfair Display Semi-Bold"/>
                        </a:rPr>
                        <a:t>Note</a:t>
                      </a:r>
                      <a:endParaRPr lang="en-US" sz="1100" b="0" dirty="0">
                        <a:latin typeface="Playfair Display SemiBold" pitchFamily="2" charset="0"/>
                      </a:endParaRPr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FF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1482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FD5954"/>
                        </a:solidFill>
                        <a:latin typeface="Playfair Display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F793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6031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29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ayfair Display</vt:lpstr>
      <vt:lpstr>Playfair Display SemiBold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istmas Party, Office Potluck, Summer Potluck (Portrait)</dc:title>
  <dc:creator>Hoang Anh</dc:creator>
  <cp:lastModifiedBy>Hoang Anh</cp:lastModifiedBy>
  <cp:revision>71</cp:revision>
  <dcterms:created xsi:type="dcterms:W3CDTF">2006-08-16T00:00:00Z</dcterms:created>
  <dcterms:modified xsi:type="dcterms:W3CDTF">2024-11-09T10:02:43Z</dcterms:modified>
  <dc:identifier>DAGVk_hPTAM</dc:identifier>
</cp:coreProperties>
</file>